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3" d="100"/>
          <a:sy n="73" d="100"/>
        </p:scale>
        <p:origin x="-144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EB794-2EBC-48F3-8E3C-4E4A77A0C9CD}" type="datetimeFigureOut">
              <a:rPr lang="en-GB" smtClean="0"/>
              <a:t>09/11/201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CDCF4-6149-41E9-9B5F-C6C177CAA940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EB794-2EBC-48F3-8E3C-4E4A77A0C9CD}" type="datetimeFigureOut">
              <a:rPr lang="en-GB" smtClean="0"/>
              <a:t>09/11/201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CDCF4-6149-41E9-9B5F-C6C177CAA940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EB794-2EBC-48F3-8E3C-4E4A77A0C9CD}" type="datetimeFigureOut">
              <a:rPr lang="en-GB" smtClean="0"/>
              <a:t>09/11/201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CDCF4-6149-41E9-9B5F-C6C177CAA940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EB794-2EBC-48F3-8E3C-4E4A77A0C9CD}" type="datetimeFigureOut">
              <a:rPr lang="en-GB" smtClean="0"/>
              <a:t>09/11/201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CDCF4-6149-41E9-9B5F-C6C177CAA940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EB794-2EBC-48F3-8E3C-4E4A77A0C9CD}" type="datetimeFigureOut">
              <a:rPr lang="en-GB" smtClean="0"/>
              <a:t>09/11/201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CDCF4-6149-41E9-9B5F-C6C177CAA940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EB794-2EBC-48F3-8E3C-4E4A77A0C9CD}" type="datetimeFigureOut">
              <a:rPr lang="en-GB" smtClean="0"/>
              <a:t>09/11/201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CDCF4-6149-41E9-9B5F-C6C177CAA940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EB794-2EBC-48F3-8E3C-4E4A77A0C9CD}" type="datetimeFigureOut">
              <a:rPr lang="en-GB" smtClean="0"/>
              <a:t>09/11/2011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CDCF4-6149-41E9-9B5F-C6C177CAA940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EB794-2EBC-48F3-8E3C-4E4A77A0C9CD}" type="datetimeFigureOut">
              <a:rPr lang="en-GB" smtClean="0"/>
              <a:t>09/11/201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CDCF4-6149-41E9-9B5F-C6C177CAA940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EB794-2EBC-48F3-8E3C-4E4A77A0C9CD}" type="datetimeFigureOut">
              <a:rPr lang="en-GB" smtClean="0"/>
              <a:t>09/11/2011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CDCF4-6149-41E9-9B5F-C6C177CAA940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EB794-2EBC-48F3-8E3C-4E4A77A0C9CD}" type="datetimeFigureOut">
              <a:rPr lang="en-GB" smtClean="0"/>
              <a:t>09/11/201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CDCF4-6149-41E9-9B5F-C6C177CAA940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EB794-2EBC-48F3-8E3C-4E4A77A0C9CD}" type="datetimeFigureOut">
              <a:rPr lang="en-GB" smtClean="0"/>
              <a:t>09/11/201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8CDCF4-6149-41E9-9B5F-C6C177CAA940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EB794-2EBC-48F3-8E3C-4E4A77A0C9CD}" type="datetimeFigureOut">
              <a:rPr lang="en-GB" smtClean="0"/>
              <a:t>09/11/201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8CDCF4-6149-41E9-9B5F-C6C177CAA940}" type="slidenum">
              <a:rPr lang="en-GB" smtClean="0"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143963" y="908801"/>
          <a:ext cx="6911462" cy="4953935"/>
        </p:xfrm>
        <a:graphic>
          <a:graphicData uri="http://schemas.openxmlformats.org/presentationml/2006/ole">
            <p:oleObj spid="_x0000_s1026" name="GraphicsWizard" r:id="rId5" imgW="8048535" imgH="5762643" progId="GraphicsWizardChart">
              <p:embed/>
            </p:oleObj>
          </a:graphicData>
        </a:graphic>
      </p:graphicFrame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205270" y="893243"/>
            <a:ext cx="8834243" cy="332508"/>
          </a:xfrm>
          <a:prstGeom prst="rect">
            <a:avLst/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49048" rIns="36000" bIns="49048" anchor="ctr">
            <a:noAutofit/>
          </a:bodyPr>
          <a:lstStyle/>
          <a:p>
            <a:pPr algn="ctr" defTabSz="859899">
              <a:buClr>
                <a:schemeClr val="tx1"/>
              </a:buClr>
              <a:defRPr/>
            </a:pPr>
            <a:r>
              <a:rPr lang="en-US" sz="1100" b="1" dirty="0" smtClean="0">
                <a:solidFill>
                  <a:srgbClr val="000000"/>
                </a:solidFill>
                <a:latin typeface="+mj-lt"/>
              </a:rPr>
              <a:t>NEW LOCATIONS COSTS AND REVENUES (DIFFERENT POS FORMATS)</a:t>
            </a:r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1593680" y="5665408"/>
            <a:ext cx="593765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/>
          <p:cNvCxnSpPr/>
          <p:nvPr/>
        </p:nvCxnSpPr>
        <p:spPr bwMode="auto">
          <a:xfrm>
            <a:off x="1593680" y="5356605"/>
            <a:ext cx="593765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1593680" y="5091641"/>
            <a:ext cx="593765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/>
          <p:cNvCxnSpPr/>
          <p:nvPr/>
        </p:nvCxnSpPr>
        <p:spPr bwMode="auto">
          <a:xfrm>
            <a:off x="1593680" y="4767765"/>
            <a:ext cx="593765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/>
          <p:cNvCxnSpPr/>
          <p:nvPr/>
        </p:nvCxnSpPr>
        <p:spPr bwMode="auto">
          <a:xfrm>
            <a:off x="1593680" y="4492304"/>
            <a:ext cx="593765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0"/>
          <p:cNvCxnSpPr/>
          <p:nvPr/>
        </p:nvCxnSpPr>
        <p:spPr bwMode="auto">
          <a:xfrm>
            <a:off x="1593680" y="4215223"/>
            <a:ext cx="593765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-104480" y="6381908"/>
            <a:ext cx="9429008" cy="21544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82563" indent="-182563" algn="ctr"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en-US" sz="1400" b="1" u="sng" dirty="0" smtClean="0">
                <a:solidFill>
                  <a:srgbClr val="000000"/>
                </a:solidFill>
                <a:latin typeface="Verdana"/>
              </a:rPr>
              <a:t>Profitability </a:t>
            </a:r>
            <a:r>
              <a:rPr lang="en-US" sz="1400" b="1" u="sng" dirty="0" smtClean="0">
                <a:solidFill>
                  <a:srgbClr val="000000"/>
                </a:solidFill>
                <a:latin typeface="Verdana"/>
              </a:rPr>
              <a:t>would be very low and negative for smaller </a:t>
            </a:r>
            <a:r>
              <a:rPr lang="en-US" sz="1400" b="1" u="sng" dirty="0" smtClean="0">
                <a:solidFill>
                  <a:srgbClr val="000000"/>
                </a:solidFill>
                <a:latin typeface="Verdana"/>
              </a:rPr>
              <a:t>shops</a:t>
            </a:r>
            <a:endParaRPr lang="en-US" sz="1400" b="1" dirty="0" smtClean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13" name="AutoShape 2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4469530" y="5596889"/>
            <a:ext cx="280988" cy="1186656"/>
          </a:xfrm>
          <a:prstGeom prst="rightArrow">
            <a:avLst>
              <a:gd name="adj1" fmla="val 45259"/>
              <a:gd name="adj2" fmla="val 52222"/>
            </a:avLst>
          </a:prstGeom>
          <a:solidFill>
            <a:srgbClr val="FFE433"/>
          </a:solidFill>
          <a:ln w="3175">
            <a:noFill/>
            <a:miter lim="800000"/>
            <a:headEnd type="none" w="sm" len="sm"/>
            <a:tailEnd type="none" w="sm" len="sm"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rot="10800000" vert="eaVert" lIns="98082" tIns="49041" rIns="98082" bIns="49041" anchor="ctr"/>
          <a:lstStyle/>
          <a:p>
            <a:pPr marL="125413" indent="-125413" algn="ctr" defTabSz="881063" eaLnBrk="0" hangingPunct="0">
              <a:defRPr/>
            </a:pPr>
            <a:endParaRPr lang="en-GB" sz="1400" b="1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14" name="Rectangle 187"/>
          <p:cNvSpPr txBox="1">
            <a:spLocks noChangeArrowheads="1"/>
          </p:cNvSpPr>
          <p:nvPr/>
        </p:nvSpPr>
        <p:spPr bwMode="auto">
          <a:xfrm>
            <a:off x="298091" y="260648"/>
            <a:ext cx="8522381" cy="497131"/>
          </a:xfrm>
          <a:prstGeom prst="rect">
            <a:avLst/>
          </a:prstGeom>
        </p:spPr>
        <p:txBody>
          <a:bodyPr vert="horz" lIns="91440" tIns="45720" rIns="73706" bIns="45720" rtlCol="0" anchor="ctr">
            <a:normAutofit/>
          </a:bodyPr>
          <a:lstStyle/>
          <a:p>
            <a:pPr marL="1550" marR="0" lvl="0" indent="-1550" defTabSz="4602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457936" algn="l"/>
              </a:tabLst>
              <a:defRPr/>
            </a:pPr>
            <a:r>
              <a:rPr kumimoji="0" lang="en-US" sz="24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+mj-ea"/>
                <a:cs typeface="+mj-cs"/>
              </a:rPr>
              <a:t>Profitability analysis</a:t>
            </a:r>
            <a:endParaRPr kumimoji="0" lang="en-US" sz="26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_Lxb8qSEmGzT5yhpbC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sFzVd9q0mrlGxDnczkd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22</Words>
  <Application>Microsoft Office PowerPoint</Application>
  <PresentationFormat>On-screen Show (4:3)</PresentationFormat>
  <Paragraphs>3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 Theme</vt:lpstr>
      <vt:lpstr>GraphicsWizard Chart</vt:lpstr>
      <vt:lpstr>Slide 1</vt:lpstr>
    </vt:vector>
  </TitlesOfParts>
  <Company>FV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Fabrizio Virtuani</dc:creator>
  <cp:lastModifiedBy>Fabrizio Virtuani</cp:lastModifiedBy>
  <cp:revision>1</cp:revision>
  <dcterms:created xsi:type="dcterms:W3CDTF">2011-11-09T17:11:15Z</dcterms:created>
  <dcterms:modified xsi:type="dcterms:W3CDTF">2011-11-09T17:13:45Z</dcterms:modified>
</cp:coreProperties>
</file>